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61" r:id="rId4"/>
  </p:sldMasterIdLst>
  <p:notesMasterIdLst>
    <p:notesMasterId r:id="rId6"/>
  </p:notesMasterIdLst>
  <p:sldIdLst>
    <p:sldId id="263" r:id="rId5"/>
  </p:sldIdLst>
  <p:sldSz cx="12192000" cy="6858000"/>
  <p:notesSz cx="6858000" cy="9144000"/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521" userDrawn="1">
          <p15:clr>
            <a:srgbClr val="A4A3A4"/>
          </p15:clr>
        </p15:guide>
        <p15:guide id="5" orient="horz" pos="1933" userDrawn="1">
          <p15:clr>
            <a:srgbClr val="A4A3A4"/>
          </p15:clr>
        </p15:guide>
        <p15:guide id="6" orient="horz" pos="2704" userDrawn="1">
          <p15:clr>
            <a:srgbClr val="A4A3A4"/>
          </p15:clr>
        </p15:guide>
        <p15:guide id="7" pos="3840">
          <p15:clr>
            <a:srgbClr val="A4A3A4"/>
          </p15:clr>
        </p15:guide>
        <p15:guide id="8" orient="horz" pos="134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0E4994"/>
    <a:srgbClr val="FFFFFF"/>
    <a:srgbClr val="04194A"/>
    <a:srgbClr val="DBE4EF"/>
    <a:srgbClr val="249BD7"/>
    <a:srgbClr val="D6E2EF"/>
    <a:srgbClr val="1D9CD9"/>
    <a:srgbClr val="DCE4EF"/>
    <a:srgbClr val="3C3C3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97"/>
    <p:restoredTop sz="94660"/>
  </p:normalViewPr>
  <p:slideViewPr>
    <p:cSldViewPr snapToGrid="0">
      <p:cViewPr varScale="1">
        <p:scale>
          <a:sx n="67" d="100"/>
          <a:sy n="67" d="100"/>
        </p:scale>
        <p:origin x="79" y="549"/>
      </p:cViewPr>
      <p:guideLst>
        <p:guide orient="horz" pos="3521"/>
        <p:guide orient="horz" pos="1933"/>
        <p:guide orient="horz" pos="2704"/>
        <p:guide pos="3840"/>
        <p:guide orient="horz" pos="134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microsoft.com/office/2016/11/relationships/changesInfo" Target="changesInfos/changesInfo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Zarándy Pál" userId="519a3086-271c-4a7b-a8a1-bb6bf7c02a38" providerId="ADAL" clId="{E7F8A13E-5C65-4CCA-9C6A-97EC9FBD5250}"/>
    <pc:docChg chg="modSld">
      <pc:chgData name="Zarándy Pál" userId="519a3086-271c-4a7b-a8a1-bb6bf7c02a38" providerId="ADAL" clId="{E7F8A13E-5C65-4CCA-9C6A-97EC9FBD5250}" dt="2026-05-14T15:11:28.669" v="1" actId="14100"/>
      <pc:docMkLst>
        <pc:docMk/>
      </pc:docMkLst>
      <pc:sldChg chg="modSp mod">
        <pc:chgData name="Zarándy Pál" userId="519a3086-271c-4a7b-a8a1-bb6bf7c02a38" providerId="ADAL" clId="{E7F8A13E-5C65-4CCA-9C6A-97EC9FBD5250}" dt="2026-05-14T15:11:28.669" v="1" actId="14100"/>
        <pc:sldMkLst>
          <pc:docMk/>
          <pc:sldMk cId="2574069090" sldId="263"/>
        </pc:sldMkLst>
        <pc:picChg chg="mod">
          <ac:chgData name="Zarándy Pál" userId="519a3086-271c-4a7b-a8a1-bb6bf7c02a38" providerId="ADAL" clId="{E7F8A13E-5C65-4CCA-9C6A-97EC9FBD5250}" dt="2026-05-14T15:11:28.669" v="1" actId="14100"/>
          <ac:picMkLst>
            <pc:docMk/>
            <pc:sldMk cId="2574069090" sldId="263"/>
            <ac:picMk id="3" creationId="{D8A3C37D-5B6C-0612-5052-E09669836067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Arial" panose="020B0604020202020204" pitchFamily="34" charset="0"/>
              </a:defRPr>
            </a:lvl1pPr>
          </a:lstStyle>
          <a:p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Arial" panose="020B0604020202020204" pitchFamily="34" charset="0"/>
              </a:defRPr>
            </a:lvl1pPr>
          </a:lstStyle>
          <a:p>
            <a:fld id="{DA7F6B09-104A-493E-9747-03F76684B0F0}" type="datetimeFigureOut">
              <a:rPr lang="hu-HU" smtClean="0"/>
              <a:pPr/>
              <a:t>2026. 05. 14.</a:t>
            </a:fld>
            <a:endParaRPr lang="hu-HU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hu-HU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Arial" panose="020B0604020202020204" pitchFamily="34" charset="0"/>
              </a:defRPr>
            </a:lvl1pPr>
          </a:lstStyle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Arial" panose="020B0604020202020204" pitchFamily="34" charset="0"/>
              </a:defRPr>
            </a:lvl1pPr>
          </a:lstStyle>
          <a:p>
            <a:fld id="{558625EA-CFD4-4B92-8173-DEBA68BF6082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784072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ljesképernyős ké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Kép helye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2191999" cy="68580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1600" b="0" i="0" baseline="0">
                <a:latin typeface="Arial" panose="020B0604020202020204" pitchFamily="34" charset="0"/>
              </a:defRPr>
            </a:lvl1pPr>
          </a:lstStyle>
          <a:p>
            <a:r>
              <a:rPr lang="hu-HU"/>
              <a:t>Teljesképernyős kép beszúrásához kattintson ide</a:t>
            </a:r>
          </a:p>
        </p:txBody>
      </p:sp>
    </p:spTree>
    <p:extLst>
      <p:ext uri="{BB962C8B-B14F-4D97-AF65-F5344CB8AC3E}">
        <p14:creationId xmlns:p14="http://schemas.microsoft.com/office/powerpoint/2010/main" val="1058230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lapdia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BCF8F31-E95A-0CA7-C7AD-E87D8D5A91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2641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BCF8F31-E95A-0CA7-C7AD-E87D8D5A91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718928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Alapdia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BCF8F31-E95A-0CA7-C7AD-E87D8D5A91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2641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BCF8F31-E95A-0CA7-C7AD-E87D8D5A91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Kép helye 10">
            <a:extLst>
              <a:ext uri="{FF2B5EF4-FFF2-40B4-BE49-F238E27FC236}">
                <a16:creationId xmlns:a16="http://schemas.microsoft.com/office/drawing/2014/main" id="{5648F603-293A-5067-B727-061129CDFF2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4765675"/>
            <a:ext cx="5947304" cy="2092325"/>
          </a:xfrm>
          <a:custGeom>
            <a:avLst/>
            <a:gdLst>
              <a:gd name="connsiteX0" fmla="*/ 0 w 5947304"/>
              <a:gd name="connsiteY0" fmla="*/ 0 h 2092325"/>
              <a:gd name="connsiteX1" fmla="*/ 3789680 w 5947304"/>
              <a:gd name="connsiteY1" fmla="*/ 0 h 2092325"/>
              <a:gd name="connsiteX2" fmla="*/ 3789680 w 5947304"/>
              <a:gd name="connsiteY2" fmla="*/ 4608 h 2092325"/>
              <a:gd name="connsiteX3" fmla="*/ 3825732 w 5947304"/>
              <a:gd name="connsiteY3" fmla="*/ 2901 h 2092325"/>
              <a:gd name="connsiteX4" fmla="*/ 5938051 w 5947304"/>
              <a:gd name="connsiteY4" fmla="*/ 1909090 h 2092325"/>
              <a:gd name="connsiteX5" fmla="*/ 5947304 w 5947304"/>
              <a:gd name="connsiteY5" fmla="*/ 2092325 h 2092325"/>
              <a:gd name="connsiteX6" fmla="*/ 3789680 w 5947304"/>
              <a:gd name="connsiteY6" fmla="*/ 2092325 h 2092325"/>
              <a:gd name="connsiteX7" fmla="*/ 1704161 w 5947304"/>
              <a:gd name="connsiteY7" fmla="*/ 2092325 h 2092325"/>
              <a:gd name="connsiteX8" fmla="*/ 0 w 5947304"/>
              <a:gd name="connsiteY8" fmla="*/ 2092325 h 2092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47304" h="2092325">
                <a:moveTo>
                  <a:pt x="0" y="0"/>
                </a:moveTo>
                <a:lnTo>
                  <a:pt x="3789680" y="0"/>
                </a:lnTo>
                <a:lnTo>
                  <a:pt x="3789680" y="4608"/>
                </a:lnTo>
                <a:lnTo>
                  <a:pt x="3825732" y="2901"/>
                </a:lnTo>
                <a:cubicBezTo>
                  <a:pt x="4925097" y="2901"/>
                  <a:pt x="5829318" y="838412"/>
                  <a:pt x="5938051" y="1909090"/>
                </a:cubicBezTo>
                <a:lnTo>
                  <a:pt x="5947304" y="2092325"/>
                </a:lnTo>
                <a:lnTo>
                  <a:pt x="3789680" y="2092325"/>
                </a:lnTo>
                <a:lnTo>
                  <a:pt x="1704161" y="2092325"/>
                </a:lnTo>
                <a:lnTo>
                  <a:pt x="0" y="2092325"/>
                </a:lnTo>
                <a:close/>
              </a:path>
            </a:pathLst>
          </a:custGeom>
          <a:pattFill prst="trellis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>
              <a:defRPr b="0" i="0">
                <a:latin typeface="Arial" panose="020B0604020202020204" pitchFamily="34" charset="0"/>
              </a:defRPr>
            </a:lvl1pPr>
          </a:lstStyle>
          <a:p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9670744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Alapdia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BCF8F31-E95A-0CA7-C7AD-E87D8D5A91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2641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BCF8F31-E95A-0CA7-C7AD-E87D8D5A91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Kép helye 2">
            <a:extLst>
              <a:ext uri="{FF2B5EF4-FFF2-40B4-BE49-F238E27FC236}">
                <a16:creationId xmlns:a16="http://schemas.microsoft.com/office/drawing/2014/main" id="{82227EFA-7256-3E4C-2CA3-B5AC0686C3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pattFill prst="pct70">
            <a:fgClr>
              <a:schemeClr val="accent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600" b="0" i="0">
                <a:latin typeface="Arial" panose="020B0604020202020204" pitchFamily="34" charset="0"/>
              </a:defRPr>
            </a:lvl1pPr>
          </a:lstStyle>
          <a:p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8763444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lapdia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BCF8F31-E95A-0CA7-C7AD-E87D8D5A91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2641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BCF8F31-E95A-0CA7-C7AD-E87D8D5A91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Kép helye 2">
            <a:extLst>
              <a:ext uri="{FF2B5EF4-FFF2-40B4-BE49-F238E27FC236}">
                <a16:creationId xmlns:a16="http://schemas.microsoft.com/office/drawing/2014/main" id="{9ED75DFF-AC94-7512-4FE0-DC2E0F7D437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pct70">
            <a:fgClr>
              <a:schemeClr val="accent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600" b="0" i="0">
                <a:latin typeface="Arial" panose="020B0604020202020204" pitchFamily="34" charset="0"/>
              </a:defRPr>
            </a:lvl1pPr>
          </a:lstStyle>
          <a:p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1951116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Alapdia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BCF8F31-E95A-0CA7-C7AD-E87D8D5A91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2641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BCF8F31-E95A-0CA7-C7AD-E87D8D5A91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nsert Picture Here 2018 Darker.png">
            <a:extLst>
              <a:ext uri="{FF2B5EF4-FFF2-40B4-BE49-F238E27FC236}">
                <a16:creationId xmlns:a16="http://schemas.microsoft.com/office/drawing/2014/main" id="{6BA6D8E3-C552-932B-3CF4-AE667B14A3FC}"/>
              </a:ext>
            </a:extLst>
          </p:cNvPr>
          <p:cNvSpPr>
            <a:spLocks noGrp="1"/>
          </p:cNvSpPr>
          <p:nvPr>
            <p:ph type="pic" idx="21"/>
          </p:nvPr>
        </p:nvSpPr>
        <p:spPr>
          <a:xfrm>
            <a:off x="-1" y="-5"/>
            <a:ext cx="12193589" cy="6858001"/>
          </a:xfrm>
          <a:prstGeom prst="rect">
            <a:avLst/>
          </a:prstGeom>
          <a:pattFill prst="pct70">
            <a:fgClr>
              <a:schemeClr val="accent1"/>
            </a:fgClr>
            <a:bgClr>
              <a:schemeClr val="bg1"/>
            </a:bgClr>
          </a:pattFill>
        </p:spPr>
        <p:txBody>
          <a:bodyPr lIns="91439" tIns="45719" rIns="91439" bIns="45719">
            <a:noAutofit/>
          </a:bodyPr>
          <a:lstStyle>
            <a:lvl1pPr>
              <a:defRPr b="0" i="0">
                <a:latin typeface="Arial" panose="020B0604020202020204" pitchFamily="34" charset="0"/>
              </a:defRPr>
            </a:lvl1pPr>
          </a:lstStyle>
          <a:p>
            <a:endParaRPr/>
          </a:p>
        </p:txBody>
      </p:sp>
      <p:sp>
        <p:nvSpPr>
          <p:cNvPr id="7" name="Rounded Rectangle">
            <a:extLst>
              <a:ext uri="{FF2B5EF4-FFF2-40B4-BE49-F238E27FC236}">
                <a16:creationId xmlns:a16="http://schemas.microsoft.com/office/drawing/2014/main" id="{68553176-1C3E-4A47-2E8C-EEED45F9E07E}"/>
              </a:ext>
            </a:extLst>
          </p:cNvPr>
          <p:cNvSpPr>
            <a:spLocks noGrp="1"/>
          </p:cNvSpPr>
          <p:nvPr>
            <p:ph type="body" idx="22"/>
          </p:nvPr>
        </p:nvSpPr>
        <p:spPr>
          <a:xfrm>
            <a:off x="417576" y="860425"/>
            <a:ext cx="11356848" cy="5556250"/>
          </a:xfrm>
          <a:prstGeom prst="roundRect">
            <a:avLst>
              <a:gd name="adj" fmla="val 5712"/>
            </a:avLst>
          </a:prstGeom>
          <a:solidFill>
            <a:srgbClr val="FFFFFF"/>
          </a:solidFill>
        </p:spPr>
        <p:txBody>
          <a:bodyPr anchor="ctr">
            <a:noAutofit/>
          </a:bodyPr>
          <a:lstStyle/>
          <a:p>
            <a:pPr algn="ctr">
              <a:lnSpc>
                <a:spcPct val="100000"/>
              </a:lnSpc>
              <a:defRPr sz="3200" cap="none" spc="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/>
          </a:p>
        </p:txBody>
      </p:sp>
      <p:sp>
        <p:nvSpPr>
          <p:cNvPr id="11" name="Kép helye 10">
            <a:extLst>
              <a:ext uri="{FF2B5EF4-FFF2-40B4-BE49-F238E27FC236}">
                <a16:creationId xmlns:a16="http://schemas.microsoft.com/office/drawing/2014/main" id="{D5904ACF-AD73-22C7-5CBA-3CE1EC74848E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284720" y="1121815"/>
            <a:ext cx="4907280" cy="975682"/>
          </a:xfrm>
          <a:custGeom>
            <a:avLst/>
            <a:gdLst>
              <a:gd name="connsiteX0" fmla="*/ 0 w 6746875"/>
              <a:gd name="connsiteY0" fmla="*/ 670718 h 1341438"/>
              <a:gd name="connsiteX1" fmla="*/ 0 w 6746875"/>
              <a:gd name="connsiteY1" fmla="*/ 670719 h 1341438"/>
              <a:gd name="connsiteX2" fmla="*/ 0 w 6746875"/>
              <a:gd name="connsiteY2" fmla="*/ 670719 h 1341438"/>
              <a:gd name="connsiteX3" fmla="*/ 670719 w 6746875"/>
              <a:gd name="connsiteY3" fmla="*/ 0 h 1341438"/>
              <a:gd name="connsiteX4" fmla="*/ 6746875 w 6746875"/>
              <a:gd name="connsiteY4" fmla="*/ 0 h 1341438"/>
              <a:gd name="connsiteX5" fmla="*/ 6746875 w 6746875"/>
              <a:gd name="connsiteY5" fmla="*/ 1341438 h 1341438"/>
              <a:gd name="connsiteX6" fmla="*/ 670719 w 6746875"/>
              <a:gd name="connsiteY6" fmla="*/ 1341437 h 1341438"/>
              <a:gd name="connsiteX7" fmla="*/ 13627 w 6746875"/>
              <a:gd name="connsiteY7" fmla="*/ 805891 h 1341438"/>
              <a:gd name="connsiteX8" fmla="*/ 0 w 6746875"/>
              <a:gd name="connsiteY8" fmla="*/ 670719 h 1341438"/>
              <a:gd name="connsiteX9" fmla="*/ 13627 w 6746875"/>
              <a:gd name="connsiteY9" fmla="*/ 535546 h 1341438"/>
              <a:gd name="connsiteX10" fmla="*/ 670719 w 6746875"/>
              <a:gd name="connsiteY10" fmla="*/ 0 h 1341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746875" h="1341438">
                <a:moveTo>
                  <a:pt x="0" y="670718"/>
                </a:moveTo>
                <a:lnTo>
                  <a:pt x="0" y="670719"/>
                </a:lnTo>
                <a:lnTo>
                  <a:pt x="0" y="670719"/>
                </a:lnTo>
                <a:close/>
                <a:moveTo>
                  <a:pt x="670719" y="0"/>
                </a:moveTo>
                <a:lnTo>
                  <a:pt x="6746875" y="0"/>
                </a:lnTo>
                <a:lnTo>
                  <a:pt x="6746875" y="1341438"/>
                </a:lnTo>
                <a:lnTo>
                  <a:pt x="670719" y="1341437"/>
                </a:lnTo>
                <a:cubicBezTo>
                  <a:pt x="346595" y="1341437"/>
                  <a:pt x="76169" y="1111527"/>
                  <a:pt x="13627" y="805891"/>
                </a:cubicBezTo>
                <a:lnTo>
                  <a:pt x="0" y="670719"/>
                </a:lnTo>
                <a:lnTo>
                  <a:pt x="13627" y="535546"/>
                </a:lnTo>
                <a:cubicBezTo>
                  <a:pt x="76169" y="229910"/>
                  <a:pt x="346595" y="0"/>
                  <a:pt x="670719" y="0"/>
                </a:cubicBezTo>
                <a:close/>
              </a:path>
            </a:pathLst>
          </a:custGeom>
          <a:pattFill prst="pct5">
            <a:fgClr>
              <a:srgbClr val="FFFFFF"/>
            </a:fgClr>
            <a:bgClr>
              <a:schemeClr val="accent1"/>
            </a:bgClr>
          </a:pattFill>
        </p:spPr>
        <p:txBody>
          <a:bodyPr wrap="square" anchor="ctr">
            <a:noAutofit/>
          </a:bodyPr>
          <a:lstStyle>
            <a:lvl1pPr algn="ctr">
              <a:defRPr sz="1800" b="0" i="0">
                <a:latin typeface="Arial" panose="020B0604020202020204" pitchFamily="34" charset="0"/>
              </a:defRPr>
            </a:lvl1pPr>
          </a:lstStyle>
          <a:p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8920023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321" userDrawn="1">
          <p15:clr>
            <a:srgbClr val="FBAE40"/>
          </p15:clr>
        </p15:guide>
        <p15:guide id="3" orient="horz" pos="70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lapdia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BCF8F31-E95A-0CA7-C7AD-E87D8D5A91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2641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BCF8F31-E95A-0CA7-C7AD-E87D8D5A91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Kép helye 29">
            <a:extLst>
              <a:ext uri="{FF2B5EF4-FFF2-40B4-BE49-F238E27FC236}">
                <a16:creationId xmlns:a16="http://schemas.microsoft.com/office/drawing/2014/main" id="{65EF0396-B202-C818-F80C-09737A0725C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95850" y="873124"/>
            <a:ext cx="6696150" cy="5543847"/>
          </a:xfrm>
          <a:custGeom>
            <a:avLst/>
            <a:gdLst>
              <a:gd name="connsiteX0" fmla="*/ 1200833 w 6711491"/>
              <a:gd name="connsiteY0" fmla="*/ 4245272 h 5556548"/>
              <a:gd name="connsiteX1" fmla="*/ 6711491 w 6711491"/>
              <a:gd name="connsiteY1" fmla="*/ 4245272 h 5556548"/>
              <a:gd name="connsiteX2" fmla="*/ 6711491 w 6711491"/>
              <a:gd name="connsiteY2" fmla="*/ 5556548 h 5556548"/>
              <a:gd name="connsiteX3" fmla="*/ 1200833 w 6711491"/>
              <a:gd name="connsiteY3" fmla="*/ 5556547 h 5556548"/>
              <a:gd name="connsiteX4" fmla="*/ 558516 w 6711491"/>
              <a:gd name="connsiteY4" fmla="*/ 5033043 h 5556548"/>
              <a:gd name="connsiteX5" fmla="*/ 545195 w 6711491"/>
              <a:gd name="connsiteY5" fmla="*/ 4900910 h 5556548"/>
              <a:gd name="connsiteX6" fmla="*/ 558516 w 6711491"/>
              <a:gd name="connsiteY6" fmla="*/ 4768776 h 5556548"/>
              <a:gd name="connsiteX7" fmla="*/ 1200833 w 6711491"/>
              <a:gd name="connsiteY7" fmla="*/ 4245272 h 5556548"/>
              <a:gd name="connsiteX8" fmla="*/ 1677832 w 6711491"/>
              <a:gd name="connsiteY8" fmla="*/ 2828920 h 5556548"/>
              <a:gd name="connsiteX9" fmla="*/ 6711491 w 6711491"/>
              <a:gd name="connsiteY9" fmla="*/ 2828920 h 5556548"/>
              <a:gd name="connsiteX10" fmla="*/ 6711491 w 6711491"/>
              <a:gd name="connsiteY10" fmla="*/ 4140196 h 5556548"/>
              <a:gd name="connsiteX11" fmla="*/ 1677832 w 6711491"/>
              <a:gd name="connsiteY11" fmla="*/ 4140195 h 5556548"/>
              <a:gd name="connsiteX12" fmla="*/ 1035515 w 6711491"/>
              <a:gd name="connsiteY12" fmla="*/ 3616691 h 5556548"/>
              <a:gd name="connsiteX13" fmla="*/ 1022194 w 6711491"/>
              <a:gd name="connsiteY13" fmla="*/ 3484557 h 5556548"/>
              <a:gd name="connsiteX14" fmla="*/ 1035515 w 6711491"/>
              <a:gd name="connsiteY14" fmla="*/ 3352424 h 5556548"/>
              <a:gd name="connsiteX15" fmla="*/ 1677832 w 6711491"/>
              <a:gd name="connsiteY15" fmla="*/ 2828920 h 5556548"/>
              <a:gd name="connsiteX16" fmla="*/ 655638 w 6711491"/>
              <a:gd name="connsiteY16" fmla="*/ 1414460 h 5556548"/>
              <a:gd name="connsiteX17" fmla="*/ 6711491 w 6711491"/>
              <a:gd name="connsiteY17" fmla="*/ 1414460 h 5556548"/>
              <a:gd name="connsiteX18" fmla="*/ 6711491 w 6711491"/>
              <a:gd name="connsiteY18" fmla="*/ 2725736 h 5556548"/>
              <a:gd name="connsiteX19" fmla="*/ 655638 w 6711491"/>
              <a:gd name="connsiteY19" fmla="*/ 2725735 h 5556548"/>
              <a:gd name="connsiteX20" fmla="*/ 13320 w 6711491"/>
              <a:gd name="connsiteY20" fmla="*/ 2202231 h 5556548"/>
              <a:gd name="connsiteX21" fmla="*/ 0 w 6711491"/>
              <a:gd name="connsiteY21" fmla="*/ 2070097 h 5556548"/>
              <a:gd name="connsiteX22" fmla="*/ 13320 w 6711491"/>
              <a:gd name="connsiteY22" fmla="*/ 1937964 h 5556548"/>
              <a:gd name="connsiteX23" fmla="*/ 655638 w 6711491"/>
              <a:gd name="connsiteY23" fmla="*/ 1414460 h 5556548"/>
              <a:gd name="connsiteX24" fmla="*/ 2613810 w 6711491"/>
              <a:gd name="connsiteY24" fmla="*/ 0 h 5556548"/>
              <a:gd name="connsiteX25" fmla="*/ 6711491 w 6711491"/>
              <a:gd name="connsiteY25" fmla="*/ 0 h 5556548"/>
              <a:gd name="connsiteX26" fmla="*/ 6711491 w 6711491"/>
              <a:gd name="connsiteY26" fmla="*/ 1311276 h 5556548"/>
              <a:gd name="connsiteX27" fmla="*/ 2613810 w 6711491"/>
              <a:gd name="connsiteY27" fmla="*/ 1311275 h 5556548"/>
              <a:gd name="connsiteX28" fmla="*/ 1971493 w 6711491"/>
              <a:gd name="connsiteY28" fmla="*/ 787771 h 5556548"/>
              <a:gd name="connsiteX29" fmla="*/ 1958172 w 6711491"/>
              <a:gd name="connsiteY29" fmla="*/ 655638 h 5556548"/>
              <a:gd name="connsiteX30" fmla="*/ 1971493 w 6711491"/>
              <a:gd name="connsiteY30" fmla="*/ 523504 h 5556548"/>
              <a:gd name="connsiteX31" fmla="*/ 2613810 w 6711491"/>
              <a:gd name="connsiteY31" fmla="*/ 0 h 5556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6711491" h="5556548">
                <a:moveTo>
                  <a:pt x="1200833" y="4245272"/>
                </a:moveTo>
                <a:lnTo>
                  <a:pt x="6711491" y="4245272"/>
                </a:lnTo>
                <a:lnTo>
                  <a:pt x="6711491" y="5556548"/>
                </a:lnTo>
                <a:lnTo>
                  <a:pt x="1200833" y="5556547"/>
                </a:lnTo>
                <a:cubicBezTo>
                  <a:pt x="883997" y="5556547"/>
                  <a:pt x="619651" y="5331806"/>
                  <a:pt x="558516" y="5033043"/>
                </a:cubicBezTo>
                <a:lnTo>
                  <a:pt x="545195" y="4900910"/>
                </a:lnTo>
                <a:lnTo>
                  <a:pt x="558516" y="4768776"/>
                </a:lnTo>
                <a:cubicBezTo>
                  <a:pt x="619651" y="4470013"/>
                  <a:pt x="883997" y="4245272"/>
                  <a:pt x="1200833" y="4245272"/>
                </a:cubicBezTo>
                <a:close/>
                <a:moveTo>
                  <a:pt x="1677832" y="2828920"/>
                </a:moveTo>
                <a:lnTo>
                  <a:pt x="6711491" y="2828920"/>
                </a:lnTo>
                <a:lnTo>
                  <a:pt x="6711491" y="4140196"/>
                </a:lnTo>
                <a:lnTo>
                  <a:pt x="1677832" y="4140195"/>
                </a:lnTo>
                <a:cubicBezTo>
                  <a:pt x="1360996" y="4140195"/>
                  <a:pt x="1096650" y="3915454"/>
                  <a:pt x="1035515" y="3616691"/>
                </a:cubicBezTo>
                <a:lnTo>
                  <a:pt x="1022194" y="3484557"/>
                </a:lnTo>
                <a:lnTo>
                  <a:pt x="1035515" y="3352424"/>
                </a:lnTo>
                <a:cubicBezTo>
                  <a:pt x="1096650" y="3053661"/>
                  <a:pt x="1360996" y="2828920"/>
                  <a:pt x="1677832" y="2828920"/>
                </a:cubicBezTo>
                <a:close/>
                <a:moveTo>
                  <a:pt x="655638" y="1414460"/>
                </a:moveTo>
                <a:lnTo>
                  <a:pt x="6711491" y="1414460"/>
                </a:lnTo>
                <a:lnTo>
                  <a:pt x="6711491" y="2725736"/>
                </a:lnTo>
                <a:lnTo>
                  <a:pt x="655638" y="2725735"/>
                </a:lnTo>
                <a:cubicBezTo>
                  <a:pt x="338801" y="2725735"/>
                  <a:pt x="74456" y="2500994"/>
                  <a:pt x="13320" y="2202231"/>
                </a:cubicBezTo>
                <a:lnTo>
                  <a:pt x="0" y="2070097"/>
                </a:lnTo>
                <a:lnTo>
                  <a:pt x="13320" y="1937964"/>
                </a:lnTo>
                <a:cubicBezTo>
                  <a:pt x="74456" y="1639201"/>
                  <a:pt x="338801" y="1414460"/>
                  <a:pt x="655638" y="1414460"/>
                </a:cubicBezTo>
                <a:close/>
                <a:moveTo>
                  <a:pt x="2613810" y="0"/>
                </a:moveTo>
                <a:lnTo>
                  <a:pt x="6711491" y="0"/>
                </a:lnTo>
                <a:lnTo>
                  <a:pt x="6711491" y="1311276"/>
                </a:lnTo>
                <a:lnTo>
                  <a:pt x="2613810" y="1311275"/>
                </a:lnTo>
                <a:cubicBezTo>
                  <a:pt x="2296974" y="1311275"/>
                  <a:pt x="2032628" y="1086534"/>
                  <a:pt x="1971493" y="787771"/>
                </a:cubicBezTo>
                <a:lnTo>
                  <a:pt x="1958172" y="655638"/>
                </a:lnTo>
                <a:lnTo>
                  <a:pt x="1971493" y="523504"/>
                </a:lnTo>
                <a:cubicBezTo>
                  <a:pt x="2032628" y="224741"/>
                  <a:pt x="2296974" y="0"/>
                  <a:pt x="2613810" y="0"/>
                </a:cubicBezTo>
                <a:close/>
              </a:path>
            </a:pathLst>
          </a:custGeom>
          <a:pattFill prst="pct5">
            <a:fgClr>
              <a:srgbClr val="FFFFFF"/>
            </a:fgClr>
            <a:bgClr>
              <a:schemeClr val="accent1"/>
            </a:bgClr>
          </a:pattFill>
        </p:spPr>
        <p:txBody>
          <a:bodyPr wrap="square" anchor="ctr">
            <a:noAutofit/>
          </a:bodyPr>
          <a:lstStyle>
            <a:lvl1pPr algn="ctr">
              <a:defRPr sz="1800" b="0" i="0">
                <a:latin typeface="Arial" panose="020B0604020202020204" pitchFamily="34" charset="0"/>
              </a:defRPr>
            </a:lvl1pPr>
          </a:lstStyle>
          <a:p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908443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753D996-243D-04D5-F657-6ACE92B22D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841689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01" imgH="500" progId="TCLayout.ActiveDocument.1">
                  <p:embed/>
                </p:oleObj>
              </mc:Choice>
              <mc:Fallback>
                <p:oleObj name="think-cell Slide" r:id="rId10" imgW="501" imgH="5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753D996-243D-04D5-F657-6ACE92B22D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126281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97" r:id="rId2"/>
    <p:sldLayoutId id="2147483702" r:id="rId3"/>
    <p:sldLayoutId id="2147483701" r:id="rId4"/>
    <p:sldLayoutId id="2147483699" r:id="rId5"/>
    <p:sldLayoutId id="2147483700" r:id="rId6"/>
    <p:sldLayoutId id="2147483698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pos="438" userDrawn="1">
          <p15:clr>
            <a:srgbClr val="F26B43"/>
          </p15:clr>
        </p15:guide>
        <p15:guide id="4" pos="7242" userDrawn="1">
          <p15:clr>
            <a:srgbClr val="F26B43"/>
          </p15:clr>
        </p15:guide>
        <p15:guide id="5" pos="892" userDrawn="1">
          <p15:clr>
            <a:srgbClr val="F26B43"/>
          </p15:clr>
        </p15:guide>
        <p15:guide id="6" pos="2547" userDrawn="1">
          <p15:clr>
            <a:srgbClr val="F26B43"/>
          </p15:clr>
        </p15:guide>
        <p15:guide id="7" orient="horz" pos="278" userDrawn="1">
          <p15:clr>
            <a:srgbClr val="F26B43"/>
          </p15:clr>
        </p15:guide>
        <p15:guide id="8" orient="horz" pos="4042" userDrawn="1">
          <p15:clr>
            <a:srgbClr val="F26B43"/>
          </p15:clr>
        </p15:guide>
        <p15:guide id="9" orient="horz" pos="550" userDrawn="1">
          <p15:clr>
            <a:srgbClr val="F26B43"/>
          </p15:clr>
        </p15:guide>
        <p15:guide id="10" orient="horz" pos="3725" userDrawn="1">
          <p15:clr>
            <a:srgbClr val="F26B43"/>
          </p15:clr>
        </p15:guide>
        <p15:guide id="11" pos="2842" userDrawn="1">
          <p15:clr>
            <a:srgbClr val="F26B43"/>
          </p15:clr>
        </p15:guide>
        <p15:guide id="12" pos="4067" userDrawn="1">
          <p15:clr>
            <a:srgbClr val="F26B43"/>
          </p15:clr>
        </p15:guide>
        <p15:guide id="13" pos="3613" userDrawn="1">
          <p15:clr>
            <a:srgbClr val="F26B43"/>
          </p15:clr>
        </p15:guide>
        <p15:guide id="14" pos="463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Layout" Target="../slideLayouts/slideLayout2.xml"/><Relationship Id="rId1" Type="http://schemas.openxmlformats.org/officeDocument/2006/relationships/video" Target="https://www.youtube.com/embed/fm5prmXxAHU?feature=oembed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224936B-9416-43A8-9599-742C9D2E64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nline médiaelem 2" title="Defence Digitalisation">
            <a:hlinkClick r:id="" action="ppaction://noaction"/>
            <a:extLst>
              <a:ext uri="{FF2B5EF4-FFF2-40B4-BE49-F238E27FC236}">
                <a16:creationId xmlns:a16="http://schemas.microsoft.com/office/drawing/2014/main" id="{D8A3C37D-5B6C-0612-5052-E09669836067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4470" y="0"/>
            <a:ext cx="12189015" cy="68604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40690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-téma">
  <a:themeElements>
    <a:clrScheme name="4ig">
      <a:dk1>
        <a:srgbClr val="282829"/>
      </a:dk1>
      <a:lt1>
        <a:srgbClr val="FFFFFF"/>
      </a:lt1>
      <a:dk2>
        <a:srgbClr val="5E5E5E"/>
      </a:dk2>
      <a:lt2>
        <a:srgbClr val="D5D5D5"/>
      </a:lt2>
      <a:accent1>
        <a:srgbClr val="00E9FF"/>
      </a:accent1>
      <a:accent2>
        <a:srgbClr val="1D9CD9"/>
      </a:accent2>
      <a:accent3>
        <a:srgbClr val="021848"/>
      </a:accent3>
      <a:accent4>
        <a:srgbClr val="0E4994"/>
      </a:accent4>
      <a:accent5>
        <a:srgbClr val="04132A"/>
      </a:accent5>
      <a:accent6>
        <a:srgbClr val="021848"/>
      </a:accent6>
      <a:hlink>
        <a:srgbClr val="0000FF"/>
      </a:hlink>
      <a:folHlink>
        <a:srgbClr val="FF00FF"/>
      </a:folHlink>
    </a:clrScheme>
    <a:fontScheme name="4iG PPT fonts">
      <a:majorFont>
        <a:latin typeface="Rubik"/>
        <a:ea typeface=""/>
        <a:cs typeface=""/>
      </a:majorFont>
      <a:minorFont>
        <a:latin typeface="Rub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Fehér" id="{1F7F424A-F788-4C84-8D8C-9DD6CB713367}" vid="{7F7547D7-7191-4766-AC9F-C2786A50344B}"/>
    </a:ext>
  </a:extLst>
</a:theme>
</file>

<file path=ppt/theme/theme2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um" ma:contentTypeID="0x01010058E633D89907334B9DBD65FC53440A9E" ma:contentTypeVersion="1" ma:contentTypeDescription="Új dokumentum létrehozása." ma:contentTypeScope="" ma:versionID="b4a1d1d3ceff40939c43ca8f56e30e8c">
  <xsd:schema xmlns:xsd="http://www.w3.org/2001/XMLSchema" xmlns:xs="http://www.w3.org/2001/XMLSchema" xmlns:p="http://schemas.microsoft.com/office/2006/metadata/properties" xmlns:ns3="4c74110c-59b0-49a8-9cf7-f9f8f6810112" targetNamespace="http://schemas.microsoft.com/office/2006/metadata/properties" ma:root="true" ma:fieldsID="8c19b630c483bbf19f7299c8895d4df3" ns3:_="">
    <xsd:import namespace="4c74110c-59b0-49a8-9cf7-f9f8f6810112"/>
    <xsd:element name="properties">
      <xsd:complexType>
        <xsd:sequence>
          <xsd:element name="documentManagement">
            <xsd:complexType>
              <xsd:all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c74110c-59b0-49a8-9cf7-f9f8f6810112" elementFormDefault="qualified">
    <xsd:import namespace="http://schemas.microsoft.com/office/2006/documentManagement/types"/>
    <xsd:import namespace="http://schemas.microsoft.com/office/infopath/2007/PartnerControls"/>
    <xsd:element name="MediaServiceDateTaken" ma:index="8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artalomtípus"/>
        <xsd:element ref="dc:title" minOccurs="0" maxOccurs="1" ma:index="4" ma:displayName="Cím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C069B26-6DE0-4CBA-A6F5-80E8EF853DC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4B43AEC-162E-4B77-907A-B72AD7BE7600}">
  <ds:schemaRefs>
    <ds:schemaRef ds:uri="4c74110c-59b0-49a8-9cf7-f9f8f681011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C2AE88F8-8B37-4FFA-86D8-38D06077C1BF}">
  <ds:schemaRefs>
    <ds:schemaRef ds:uri="4c74110c-59b0-49a8-9cf7-f9f8f6810112"/>
    <ds:schemaRef ds:uri="http://www.w3.org/XML/1998/namespace"/>
    <ds:schemaRef ds:uri="http://schemas.microsoft.com/office/2006/documentManagement/types"/>
    <ds:schemaRef ds:uri="http://schemas.microsoft.com/office/infopath/2007/PartnerControls"/>
    <ds:schemaRef ds:uri="http://purl.org/dc/terms/"/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5</TotalTime>
  <Words>0</Words>
  <Application>Microsoft Office PowerPoint</Application>
  <PresentationFormat>Widescreen</PresentationFormat>
  <Paragraphs>0</Paragraphs>
  <Slides>1</Slides>
  <Notes>0</Notes>
  <HiddenSlides>0</HiddenSlides>
  <MMClips>1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Arial</vt:lpstr>
      <vt:lpstr>1_Office-téma</vt:lpstr>
      <vt:lpstr>think-cell Slide</vt:lpstr>
      <vt:lpstr>PowerPoint Presentation</vt:lpstr>
    </vt:vector>
  </TitlesOfParts>
  <Company>4iG Nyrt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Hepp Anita;Miklós István</dc:creator>
  <cp:lastModifiedBy>Zarándy Pál</cp:lastModifiedBy>
  <cp:revision>18</cp:revision>
  <dcterms:created xsi:type="dcterms:W3CDTF">2024-08-30T10:00:29Z</dcterms:created>
  <dcterms:modified xsi:type="dcterms:W3CDTF">2026-05-14T15:11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8E633D89907334B9DBD65FC53440A9E</vt:lpwstr>
  </property>
</Properties>
</file>